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90" d="100"/>
          <a:sy n="90" d="100"/>
        </p:scale>
        <p:origin x="22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077842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372209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974665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640606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58656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021523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08646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468345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815617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14481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269908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D3FC7B-02F2-4107-A7BA-21550433AC09}" type="datetimeFigureOut">
              <a:rPr lang="en-IN" smtClean="0"/>
              <a:t>28-01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A68FA7-439A-44AA-956F-8BAC57C7429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03266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7">
            <a:extLst>
              <a:ext uri="{FF2B5EF4-FFF2-40B4-BE49-F238E27FC236}">
                <a16:creationId xmlns:a16="http://schemas.microsoft.com/office/drawing/2014/main" id="{C5470B10-635C-4F3F-BB9C-3D9D21E564AC}"/>
              </a:ext>
            </a:extLst>
          </p:cNvPr>
          <p:cNvSpPr/>
          <p:nvPr/>
        </p:nvSpPr>
        <p:spPr>
          <a:xfrm>
            <a:off x="2558849" y="4105099"/>
            <a:ext cx="6002985" cy="760511"/>
          </a:xfrm>
          <a:prstGeom prst="roundRect">
            <a:avLst>
              <a:gd name="adj" fmla="val 50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6" name="Rounded Rectangle 9">
            <a:extLst>
              <a:ext uri="{FF2B5EF4-FFF2-40B4-BE49-F238E27FC236}">
                <a16:creationId xmlns:a16="http://schemas.microsoft.com/office/drawing/2014/main" id="{94B0EF53-10C2-411F-A74A-45EC8AACBC89}"/>
              </a:ext>
            </a:extLst>
          </p:cNvPr>
          <p:cNvSpPr/>
          <p:nvPr/>
        </p:nvSpPr>
        <p:spPr>
          <a:xfrm>
            <a:off x="2558848" y="3221271"/>
            <a:ext cx="5368193" cy="760511"/>
          </a:xfrm>
          <a:prstGeom prst="roundRect">
            <a:avLst>
              <a:gd name="adj" fmla="val 50000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C75E335C-ED77-413E-A084-05C44C6EF28A}"/>
              </a:ext>
            </a:extLst>
          </p:cNvPr>
          <p:cNvSpPr/>
          <p:nvPr/>
        </p:nvSpPr>
        <p:spPr>
          <a:xfrm>
            <a:off x="2558849" y="2340497"/>
            <a:ext cx="4742098" cy="760511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26246CE9-EE01-42CD-B8EF-5E8D1E81D551}"/>
              </a:ext>
            </a:extLst>
          </p:cNvPr>
          <p:cNvSpPr/>
          <p:nvPr/>
        </p:nvSpPr>
        <p:spPr>
          <a:xfrm flipV="1">
            <a:off x="1497670" y="5434216"/>
            <a:ext cx="673544" cy="228554"/>
          </a:xfrm>
          <a:prstGeom prst="triangle">
            <a:avLst>
              <a:gd name="adj" fmla="val 50322"/>
            </a:avLst>
          </a:prstGeom>
          <a:solidFill>
            <a:schemeClr val="bg1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9" name="Trapezoid 8">
            <a:extLst>
              <a:ext uri="{FF2B5EF4-FFF2-40B4-BE49-F238E27FC236}">
                <a16:creationId xmlns:a16="http://schemas.microsoft.com/office/drawing/2014/main" id="{E832D01E-F653-4146-8A54-71A3764E0874}"/>
              </a:ext>
            </a:extLst>
          </p:cNvPr>
          <p:cNvSpPr/>
          <p:nvPr/>
        </p:nvSpPr>
        <p:spPr>
          <a:xfrm flipV="1">
            <a:off x="700014" y="4924214"/>
            <a:ext cx="2268855" cy="510002"/>
          </a:xfrm>
          <a:prstGeom prst="trapezoid">
            <a:avLst>
              <a:gd name="adj" fmla="val 152230"/>
            </a:avLst>
          </a:prstGeom>
          <a:solidFill>
            <a:schemeClr val="accent6">
              <a:lumMod val="50000"/>
            </a:schemeClr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7E2D49-9867-4261-9C62-D330B530E916}"/>
              </a:ext>
            </a:extLst>
          </p:cNvPr>
          <p:cNvSpPr/>
          <p:nvPr/>
        </p:nvSpPr>
        <p:spPr>
          <a:xfrm>
            <a:off x="700015" y="4043440"/>
            <a:ext cx="2268855" cy="88382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8BDC03-E2F0-4739-B49D-373766D116C4}"/>
              </a:ext>
            </a:extLst>
          </p:cNvPr>
          <p:cNvSpPr/>
          <p:nvPr/>
        </p:nvSpPr>
        <p:spPr>
          <a:xfrm>
            <a:off x="700015" y="3159612"/>
            <a:ext cx="2268855" cy="88382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1C778B-F8F4-4F59-A0DC-2A3DD7608FCF}"/>
              </a:ext>
            </a:extLst>
          </p:cNvPr>
          <p:cNvSpPr/>
          <p:nvPr/>
        </p:nvSpPr>
        <p:spPr>
          <a:xfrm>
            <a:off x="700015" y="2278838"/>
            <a:ext cx="2268855" cy="88382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3" name="Round Same Side Corner Rectangle 16">
            <a:extLst>
              <a:ext uri="{FF2B5EF4-FFF2-40B4-BE49-F238E27FC236}">
                <a16:creationId xmlns:a16="http://schemas.microsoft.com/office/drawing/2014/main" id="{3ED51927-D03C-4B87-9692-F8C57EDE6303}"/>
              </a:ext>
            </a:extLst>
          </p:cNvPr>
          <p:cNvSpPr/>
          <p:nvPr/>
        </p:nvSpPr>
        <p:spPr>
          <a:xfrm>
            <a:off x="700015" y="1860861"/>
            <a:ext cx="2268856" cy="417265"/>
          </a:xfrm>
          <a:prstGeom prst="round2Same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F68827-E67A-4EF8-82A4-50FD6F674B0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37119" y="1885397"/>
            <a:ext cx="1994648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Business growth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503FC3F-A5A4-46DD-8188-65ECD7E83A27}"/>
              </a:ext>
            </a:extLst>
          </p:cNvPr>
          <p:cNvGrpSpPr/>
          <p:nvPr/>
        </p:nvGrpSpPr>
        <p:grpSpPr>
          <a:xfrm>
            <a:off x="830351" y="4150094"/>
            <a:ext cx="670522" cy="670522"/>
            <a:chOff x="3202949" y="4494520"/>
            <a:chExt cx="753631" cy="753631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DC09DEA9-7ACE-4966-B35D-38AF687BFE93}"/>
                </a:ext>
              </a:extLst>
            </p:cNvPr>
            <p:cNvSpPr/>
            <p:nvPr/>
          </p:nvSpPr>
          <p:spPr>
            <a:xfrm>
              <a:off x="3202949" y="4494520"/>
              <a:ext cx="753631" cy="75363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350"/>
            </a:p>
          </p:txBody>
        </p:sp>
        <p:pic>
          <p:nvPicPr>
            <p:cNvPr id="1030" name="Picture 6" descr="Business Marker icon">
              <a:extLst>
                <a:ext uri="{FF2B5EF4-FFF2-40B4-BE49-F238E27FC236}">
                  <a16:creationId xmlns:a16="http://schemas.microsoft.com/office/drawing/2014/main" id="{B1B3A7F4-40AA-4365-B565-C95022A388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4014" y="4585585"/>
              <a:ext cx="5715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B18D4A8-AA37-4191-B51D-5ED90C87CBC2}"/>
              </a:ext>
            </a:extLst>
          </p:cNvPr>
          <p:cNvGrpSpPr/>
          <p:nvPr/>
        </p:nvGrpSpPr>
        <p:grpSpPr>
          <a:xfrm>
            <a:off x="830351" y="3266266"/>
            <a:ext cx="670522" cy="670522"/>
            <a:chOff x="3202949" y="3517355"/>
            <a:chExt cx="753631" cy="753631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00C96264-B114-4E0F-8A90-B13C3271BA65}"/>
                </a:ext>
              </a:extLst>
            </p:cNvPr>
            <p:cNvSpPr/>
            <p:nvPr/>
          </p:nvSpPr>
          <p:spPr>
            <a:xfrm>
              <a:off x="3202949" y="3517355"/>
              <a:ext cx="753631" cy="75363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350"/>
            </a:p>
          </p:txBody>
        </p:sp>
        <p:pic>
          <p:nvPicPr>
            <p:cNvPr id="1028" name="Picture 4" descr="Anonymous User icon">
              <a:extLst>
                <a:ext uri="{FF2B5EF4-FFF2-40B4-BE49-F238E27FC236}">
                  <a16:creationId xmlns:a16="http://schemas.microsoft.com/office/drawing/2014/main" id="{0EEEEF32-4D9A-408B-91FA-42B4C485C8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4014" y="3608420"/>
              <a:ext cx="5715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25352A3-52FE-4F8D-9F66-E0E092100394}"/>
              </a:ext>
            </a:extLst>
          </p:cNvPr>
          <p:cNvGrpSpPr/>
          <p:nvPr/>
        </p:nvGrpSpPr>
        <p:grpSpPr>
          <a:xfrm>
            <a:off x="830351" y="2385492"/>
            <a:ext cx="670522" cy="670522"/>
            <a:chOff x="3202949" y="2527413"/>
            <a:chExt cx="753631" cy="753631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3A08A22D-09D3-4630-B3F2-EEF8AFE869F9}"/>
                </a:ext>
              </a:extLst>
            </p:cNvPr>
            <p:cNvSpPr/>
            <p:nvPr/>
          </p:nvSpPr>
          <p:spPr>
            <a:xfrm>
              <a:off x="3202949" y="2527413"/>
              <a:ext cx="753631" cy="75363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350"/>
            </a:p>
          </p:txBody>
        </p:sp>
        <p:pic>
          <p:nvPicPr>
            <p:cNvPr id="1026" name="Picture 2" descr="Total Sales icon">
              <a:extLst>
                <a:ext uri="{FF2B5EF4-FFF2-40B4-BE49-F238E27FC236}">
                  <a16:creationId xmlns:a16="http://schemas.microsoft.com/office/drawing/2014/main" id="{3F94ED6E-4E9D-4831-81A9-DD5D465E90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4014" y="2618478"/>
              <a:ext cx="5715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93676F5F-AFC1-4677-9935-961C24EC3D57}"/>
              </a:ext>
            </a:extLst>
          </p:cNvPr>
          <p:cNvSpPr txBox="1"/>
          <p:nvPr/>
        </p:nvSpPr>
        <p:spPr>
          <a:xfrm>
            <a:off x="1809082" y="2433226"/>
            <a:ext cx="93798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700" b="1" dirty="0">
                <a:solidFill>
                  <a:schemeClr val="bg1"/>
                </a:solidFill>
              </a:rPr>
              <a:t>85%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D3B77C2-1B31-47FF-97C1-8808C5C12E9E}"/>
              </a:ext>
            </a:extLst>
          </p:cNvPr>
          <p:cNvSpPr txBox="1"/>
          <p:nvPr/>
        </p:nvSpPr>
        <p:spPr>
          <a:xfrm>
            <a:off x="1809082" y="3314000"/>
            <a:ext cx="93798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700" b="1" dirty="0">
                <a:solidFill>
                  <a:schemeClr val="bg1"/>
                </a:solidFill>
              </a:rPr>
              <a:t>55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D145BD7-39A7-4DBB-B13A-24C54EB6756A}"/>
              </a:ext>
            </a:extLst>
          </p:cNvPr>
          <p:cNvSpPr txBox="1"/>
          <p:nvPr/>
        </p:nvSpPr>
        <p:spPr>
          <a:xfrm>
            <a:off x="1809082" y="4197828"/>
            <a:ext cx="93798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700" b="1" dirty="0">
                <a:solidFill>
                  <a:schemeClr val="bg1"/>
                </a:solidFill>
              </a:rPr>
              <a:t>75%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EE2A9EE-8AEF-4462-BC0D-64B3E285809F}"/>
              </a:ext>
            </a:extLst>
          </p:cNvPr>
          <p:cNvSpPr txBox="1"/>
          <p:nvPr/>
        </p:nvSpPr>
        <p:spPr>
          <a:xfrm>
            <a:off x="2979295" y="2513003"/>
            <a:ext cx="4257638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350" dirty="0"/>
              <a:t>This slide is an editable slide with all your needs.</a:t>
            </a:r>
            <a:r>
              <a:rPr lang="en-IN" sz="1350" dirty="0"/>
              <a:t> </a:t>
            </a:r>
            <a:r>
              <a:rPr lang="en-US" sz="1350" dirty="0"/>
              <a:t>Adapt it with your needs and it will capture all the audience attention</a:t>
            </a:r>
            <a:endParaRPr lang="en-IN" sz="135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DB59286-145F-49AC-AD15-DD7F003FA1C4}"/>
              </a:ext>
            </a:extLst>
          </p:cNvPr>
          <p:cNvSpPr txBox="1"/>
          <p:nvPr/>
        </p:nvSpPr>
        <p:spPr>
          <a:xfrm>
            <a:off x="2979295" y="3382458"/>
            <a:ext cx="4493729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350" dirty="0"/>
              <a:t>This slide is an editable slide with all your needs.</a:t>
            </a:r>
            <a:r>
              <a:rPr lang="en-IN" sz="1350" dirty="0"/>
              <a:t> </a:t>
            </a:r>
            <a:r>
              <a:rPr lang="en-US" sz="1350" dirty="0"/>
              <a:t>Adapt it with your needs and it will capture all the audience attention</a:t>
            </a:r>
            <a:endParaRPr lang="en-IN" sz="135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F22DCE0-CC38-419C-BF5F-E9BE6F7943EC}"/>
              </a:ext>
            </a:extLst>
          </p:cNvPr>
          <p:cNvSpPr txBox="1"/>
          <p:nvPr/>
        </p:nvSpPr>
        <p:spPr>
          <a:xfrm>
            <a:off x="2979296" y="4266286"/>
            <a:ext cx="4744375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350" dirty="0"/>
              <a:t>This slide is an editable slide with all your needs.</a:t>
            </a:r>
            <a:r>
              <a:rPr lang="en-IN" sz="1350" dirty="0"/>
              <a:t> </a:t>
            </a:r>
            <a:r>
              <a:rPr lang="en-US" sz="1350" dirty="0"/>
              <a:t>Adapt it with your needs and it will capture all the audience attention</a:t>
            </a:r>
            <a:endParaRPr lang="en-IN" sz="1350" dirty="0"/>
          </a:p>
        </p:txBody>
      </p:sp>
      <p:sp>
        <p:nvSpPr>
          <p:cNvPr id="49" name="Trapezoid 48">
            <a:extLst>
              <a:ext uri="{FF2B5EF4-FFF2-40B4-BE49-F238E27FC236}">
                <a16:creationId xmlns:a16="http://schemas.microsoft.com/office/drawing/2014/main" id="{FBBB64D0-B55B-40B3-9B73-CA69E62B741D}"/>
              </a:ext>
            </a:extLst>
          </p:cNvPr>
          <p:cNvSpPr/>
          <p:nvPr/>
        </p:nvSpPr>
        <p:spPr>
          <a:xfrm flipV="1">
            <a:off x="989737" y="5064937"/>
            <a:ext cx="1690994" cy="228555"/>
          </a:xfrm>
          <a:prstGeom prst="trapezoid">
            <a:avLst>
              <a:gd name="adj" fmla="val 15223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662261F-37F3-4BEB-B6B3-37894EA8B7B5}"/>
              </a:ext>
            </a:extLst>
          </p:cNvPr>
          <p:cNvSpPr txBox="1"/>
          <p:nvPr/>
        </p:nvSpPr>
        <p:spPr>
          <a:xfrm>
            <a:off x="0" y="153110"/>
            <a:ext cx="9144000" cy="5078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700" b="1" dirty="0"/>
              <a:t>The secret of successful startup business plan</a:t>
            </a:r>
            <a:endParaRPr lang="en-IN" sz="3600" b="1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D2AE0DB-FCF4-4ABA-A4BB-F42BDF84268D}"/>
              </a:ext>
            </a:extLst>
          </p:cNvPr>
          <p:cNvSpPr/>
          <p:nvPr/>
        </p:nvSpPr>
        <p:spPr>
          <a:xfrm>
            <a:off x="0" y="-12277"/>
            <a:ext cx="9144000" cy="9708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35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AE56B58-6EAE-41EE-84D7-8AB3FAFD5C0C}"/>
              </a:ext>
            </a:extLst>
          </p:cNvPr>
          <p:cNvSpPr/>
          <p:nvPr/>
        </p:nvSpPr>
        <p:spPr>
          <a:xfrm>
            <a:off x="0" y="6760912"/>
            <a:ext cx="9144000" cy="9708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350"/>
          </a:p>
        </p:txBody>
      </p:sp>
    </p:spTree>
    <p:extLst>
      <p:ext uri="{BB962C8B-B14F-4D97-AF65-F5344CB8AC3E}">
        <p14:creationId xmlns:p14="http://schemas.microsoft.com/office/powerpoint/2010/main" val="2441552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</TotalTime>
  <Words>87</Words>
  <Application>Microsoft Office PowerPoint</Application>
  <PresentationFormat>On-screen Show (4:3)</PresentationFormat>
  <Paragraphs>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>admin</cp:lastModifiedBy>
  <cp:revision>4</cp:revision>
  <dcterms:created xsi:type="dcterms:W3CDTF">2019-01-28T05:42:43Z</dcterms:created>
  <dcterms:modified xsi:type="dcterms:W3CDTF">2019-01-28T05:52:49Z</dcterms:modified>
</cp:coreProperties>
</file>